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9" r:id="rId4"/>
    <p:sldId id="260" r:id="rId5"/>
    <p:sldId id="261" r:id="rId6"/>
    <p:sldId id="272" r:id="rId7"/>
    <p:sldId id="273" r:id="rId8"/>
    <p:sldId id="265" r:id="rId9"/>
    <p:sldId id="266" r:id="rId10"/>
    <p:sldId id="267" r:id="rId11"/>
    <p:sldId id="268" r:id="rId12"/>
    <p:sldId id="269" r:id="rId13"/>
    <p:sldId id="263" r:id="rId14"/>
    <p:sldId id="264" r:id="rId15"/>
    <p:sldId id="271" r:id="rId16"/>
    <p:sldId id="258" r:id="rId17"/>
  </p:sldIdLst>
  <p:sldSz cx="106886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4" d="100"/>
          <a:sy n="84" d="100"/>
        </p:scale>
        <p:origin x="1182" y="84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43062108306021"/>
          <c:y val="9.6961610199323645E-2"/>
          <c:w val="0.58697320270885345"/>
          <c:h val="0.74028599134778361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7.4522221607181173E-3"/>
                  <c:y val="-7.80094946715322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7006295660752941E-2"/>
                  <c:y val="-1.017515147889550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2420370267863377E-2"/>
                  <c:y val="5.76591917137412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4.9681481071453509E-2"/>
                  <c:y val="0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2356666482154078E-2"/>
                  <c:y val="0.1288852520660097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5.961777728574421E-2"/>
                  <c:y val="0.1153183834274824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9.9362962142907019E-2"/>
                  <c:y val="7.80094946715322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8.9426665928616311E-2"/>
                  <c:y val="5.087575739447753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8.6942591875043648E-2"/>
                  <c:y val="-3.3919842239751295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5.464982477498103E-2"/>
                  <c:y val="-3.052545443668652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5.7133703232171561E-2"/>
                  <c:y val="-6.105090887337304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1.7388518375008728E-2"/>
                  <c:y val="2.035030295779101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12</c:f>
              <c:strCache>
                <c:ptCount val="11"/>
                <c:pt idx="0">
                  <c:v>BRF BRASIL FOODS</c:v>
                </c:pt>
                <c:pt idx="1">
                  <c:v>COAMO</c:v>
                </c:pt>
                <c:pt idx="2">
                  <c:v>CAFE 3 CORACOES</c:v>
                </c:pt>
                <c:pt idx="3">
                  <c:v>BUNGE ALIMENTOS</c:v>
                </c:pt>
                <c:pt idx="4">
                  <c:v>UNILEVER BRASIL</c:v>
                </c:pt>
                <c:pt idx="5">
                  <c:v>MELITTA</c:v>
                </c:pt>
                <c:pt idx="6">
                  <c:v>COPACOL</c:v>
                </c:pt>
                <c:pt idx="7">
                  <c:v>D E MASTER BLENDERS</c:v>
                </c:pt>
                <c:pt idx="8">
                  <c:v>ALIMENTOS ZAELI</c:v>
                </c:pt>
                <c:pt idx="9">
                  <c:v>NESTLE</c:v>
                </c:pt>
                <c:pt idx="10">
                  <c:v>OUTROS</c:v>
                </c:pt>
              </c:strCache>
            </c:strRef>
          </c:cat>
          <c:val>
            <c:numRef>
              <c:f>Plan1!$B$2:$B$12</c:f>
              <c:numCache>
                <c:formatCode>"R$"_(* #,##0.00,,_);_(* \(#,##0.00,,\);_(* "-"_);_(@_)</c:formatCode>
                <c:ptCount val="11"/>
                <c:pt idx="0">
                  <c:v>2081576.64</c:v>
                </c:pt>
                <c:pt idx="1">
                  <c:v>1307180.72</c:v>
                </c:pt>
                <c:pt idx="2">
                  <c:v>1208168.6499999999</c:v>
                </c:pt>
                <c:pt idx="3">
                  <c:v>1208165.28</c:v>
                </c:pt>
                <c:pt idx="4">
                  <c:v>1049391.68</c:v>
                </c:pt>
                <c:pt idx="5">
                  <c:v>915925.12</c:v>
                </c:pt>
                <c:pt idx="6">
                  <c:v>790175.45</c:v>
                </c:pt>
                <c:pt idx="7">
                  <c:v>418261.68</c:v>
                </c:pt>
                <c:pt idx="8">
                  <c:v>366084.8</c:v>
                </c:pt>
                <c:pt idx="9">
                  <c:v>265927.52</c:v>
                </c:pt>
                <c:pt idx="10">
                  <c:v>897238.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089958688088125"/>
          <c:y val="9.7021095732667137E-2"/>
          <c:w val="0.59820063064185536"/>
          <c:h val="0.75574517086382043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Lbls>
            <c:dLbl>
              <c:idx val="0"/>
              <c:layout>
                <c:manualLayout>
                  <c:x val="7.4522221607181173E-3"/>
                  <c:y val="-7.80094946715322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7006295660752941E-2"/>
                  <c:y val="-1.017515147889550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2420370267863377E-2"/>
                  <c:y val="5.76591917137412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4.9681481071453509E-2"/>
                  <c:y val="0.1085349491082187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2356666482154078E-2"/>
                  <c:y val="0.1288852520660097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5.961777728574421E-2"/>
                  <c:y val="0.1153183834274824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9.9362962142907019E-2"/>
                  <c:y val="7.800949467153221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5.5045516256113119E-2"/>
                  <c:y val="1.356686863852731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3.4035335268824733E-2"/>
                  <c:y val="2.713347021271140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10681537990000724"/>
                  <c:y val="-4.409232307521386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2.2356666482154057E-2"/>
                  <c:y val="-8.818464615042773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5.961777728574421E-2"/>
                  <c:y val="-3.052545443668652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9</c:f>
              <c:strCache>
                <c:ptCount val="8"/>
                <c:pt idx="0">
                  <c:v>BRF BRASIL FOODS</c:v>
                </c:pt>
                <c:pt idx="1">
                  <c:v>D E MASTER BLENDERS</c:v>
                </c:pt>
                <c:pt idx="2">
                  <c:v>MELITTA</c:v>
                </c:pt>
                <c:pt idx="3">
                  <c:v>COAMO</c:v>
                </c:pt>
                <c:pt idx="4">
                  <c:v>SEARA</c:v>
                </c:pt>
                <c:pt idx="5">
                  <c:v>ALIMENTOS ZAELI</c:v>
                </c:pt>
                <c:pt idx="6">
                  <c:v>NESTLE</c:v>
                </c:pt>
                <c:pt idx="7">
                  <c:v>OUTROS</c:v>
                </c:pt>
              </c:strCache>
            </c:strRef>
          </c:cat>
          <c:val>
            <c:numRef>
              <c:f>Plan1!$B$2:$B$9</c:f>
              <c:numCache>
                <c:formatCode>"R$"_(* #,##0.00,,_);_(* \(#,##0.00,,\);_(* "-"_);_(@_)</c:formatCode>
                <c:ptCount val="8"/>
                <c:pt idx="0">
                  <c:v>4004997.32</c:v>
                </c:pt>
                <c:pt idx="1">
                  <c:v>1587930.16</c:v>
                </c:pt>
                <c:pt idx="2">
                  <c:v>1121226.3999999999</c:v>
                </c:pt>
                <c:pt idx="3">
                  <c:v>1050643.3600000001</c:v>
                </c:pt>
                <c:pt idx="4">
                  <c:v>972111.43</c:v>
                </c:pt>
                <c:pt idx="5">
                  <c:v>930754.32</c:v>
                </c:pt>
                <c:pt idx="6">
                  <c:v>686208.32</c:v>
                </c:pt>
                <c:pt idx="7">
                  <c:v>3444045.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64555128630133"/>
          <c:y val="0"/>
          <c:w val="0.6087737253235499"/>
          <c:h val="0.962980589851434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_(* #,##0.00,,_);_(* \(#,##0.00,,\);_(* &quot;-&quot;_);_(@_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3</c:f>
              <c:strCache>
                <c:ptCount val="2"/>
                <c:pt idx="0">
                  <c:v>TV ABERTA</c:v>
                </c:pt>
                <c:pt idx="1">
                  <c:v>RADIO</c:v>
                </c:pt>
              </c:strCache>
            </c:strRef>
          </c:cat>
          <c:val>
            <c:numRef>
              <c:f>Plan1!$B$2:$B$3</c:f>
              <c:numCache>
                <c:formatCode>_(* #,##0.00,,_);_(* \(#,##0.00,,\);_(* "-"_);_(@_)</c:formatCode>
                <c:ptCount val="2"/>
                <c:pt idx="0">
                  <c:v>1298103.1200000001</c:v>
                </c:pt>
                <c:pt idx="1">
                  <c:v>9077.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454081520"/>
        <c:axId val="454082080"/>
      </c:barChart>
      <c:catAx>
        <c:axId val="4540815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454082080"/>
        <c:crosses val="autoZero"/>
        <c:auto val="1"/>
        <c:lblAlgn val="ctr"/>
        <c:lblOffset val="100"/>
        <c:noMultiLvlLbl val="0"/>
      </c:catAx>
      <c:valAx>
        <c:axId val="454082080"/>
        <c:scaling>
          <c:orientation val="minMax"/>
        </c:scaling>
        <c:delete val="1"/>
        <c:axPos val="t"/>
        <c:numFmt formatCode="_(* #,##0.00,,_);_(* \(#,##0.00,,\);_(* &quot;-&quot;_);_(@_)" sourceLinked="1"/>
        <c:majorTickMark val="none"/>
        <c:minorTickMark val="none"/>
        <c:tickLblPos val="nextTo"/>
        <c:crossAx val="454081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j-lt"/>
        </a:defRPr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29668918964012"/>
          <c:y val="0"/>
          <c:w val="0.6087737253235499"/>
          <c:h val="0.962980589851434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_(* #,##0.00,,_);_(* \(#,##0.00,,\);_(* &quot;-&quot;_);_(@_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3</c:f>
              <c:strCache>
                <c:ptCount val="2"/>
                <c:pt idx="0">
                  <c:v>TV ABERTA</c:v>
                </c:pt>
                <c:pt idx="1">
                  <c:v>RADIO</c:v>
                </c:pt>
              </c:strCache>
            </c:strRef>
          </c:cat>
          <c:val>
            <c:numRef>
              <c:f>Plan1!$B$2:$B$3</c:f>
              <c:numCache>
                <c:formatCode>_(* #,##0.00_);_(* \(#,##0.00\);_(* "-"??_);_(@_)</c:formatCode>
                <c:ptCount val="2"/>
                <c:pt idx="0">
                  <c:v>1043909.3588407041</c:v>
                </c:pt>
                <c:pt idx="1">
                  <c:v>6733.999986648563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454084320"/>
        <c:axId val="454084880"/>
      </c:barChart>
      <c:catAx>
        <c:axId val="454084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454084880"/>
        <c:crosses val="autoZero"/>
        <c:auto val="1"/>
        <c:lblAlgn val="ctr"/>
        <c:lblOffset val="100"/>
        <c:noMultiLvlLbl val="0"/>
      </c:catAx>
      <c:valAx>
        <c:axId val="454084880"/>
        <c:scaling>
          <c:orientation val="minMax"/>
        </c:scaling>
        <c:delete val="1"/>
        <c:axPos val="t"/>
        <c:numFmt formatCode="_(* #,##0.00_);_(* \(#,##0.00\);_(* &quot;-&quot;??_);_(@_)" sourceLinked="1"/>
        <c:majorTickMark val="none"/>
        <c:minorTickMark val="none"/>
        <c:tickLblPos val="nextTo"/>
        <c:crossAx val="454084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j-lt"/>
        </a:defRPr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Penetração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B$2:$B$5</c:f>
              <c:numCache>
                <c:formatCode>0%</c:formatCode>
                <c:ptCount val="4"/>
                <c:pt idx="0">
                  <c:v>0.84299999999999997</c:v>
                </c:pt>
                <c:pt idx="1">
                  <c:v>0.81599999999999995</c:v>
                </c:pt>
                <c:pt idx="2">
                  <c:v>0.83699999999999997</c:v>
                </c:pt>
                <c:pt idx="3">
                  <c:v>0.7940000000000000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54087680"/>
        <c:axId val="454088240"/>
      </c:barChart>
      <c:lineChart>
        <c:grouping val="standard"/>
        <c:varyColors val="0"/>
        <c:ser>
          <c:idx val="1"/>
          <c:order val="1"/>
          <c:tx>
            <c:strRef>
              <c:f>Plan1!$C$1</c:f>
              <c:strCache>
                <c:ptCount val="1"/>
                <c:pt idx="0">
                  <c:v>Afinidade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Plan1!$A$2:$A$5</c:f>
              <c:strCache>
                <c:ptCount val="4"/>
                <c:pt idx="0">
                  <c:v>BAND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C$2:$C$5</c:f>
              <c:numCache>
                <c:formatCode>0%</c:formatCode>
                <c:ptCount val="4"/>
                <c:pt idx="0">
                  <c:v>1.04</c:v>
                </c:pt>
                <c:pt idx="1">
                  <c:v>1</c:v>
                </c:pt>
                <c:pt idx="2">
                  <c:v>1.03</c:v>
                </c:pt>
                <c:pt idx="3">
                  <c:v>0.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3684448"/>
        <c:axId val="454088800"/>
      </c:lineChart>
      <c:catAx>
        <c:axId val="4540876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454088240"/>
        <c:crosses val="autoZero"/>
        <c:auto val="1"/>
        <c:lblAlgn val="ctr"/>
        <c:lblOffset val="100"/>
        <c:noMultiLvlLbl val="0"/>
      </c:catAx>
      <c:valAx>
        <c:axId val="45408824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454087680"/>
        <c:crosses val="autoZero"/>
        <c:crossBetween val="between"/>
      </c:valAx>
      <c:valAx>
        <c:axId val="454088800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453684448"/>
        <c:crosses val="max"/>
        <c:crossBetween val="between"/>
      </c:valAx>
      <c:catAx>
        <c:axId val="4536844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4088800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pt-B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Penetração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B$2:$B$5</c:f>
              <c:numCache>
                <c:formatCode>0%</c:formatCode>
                <c:ptCount val="4"/>
                <c:pt idx="0">
                  <c:v>0.32</c:v>
                </c:pt>
                <c:pt idx="1">
                  <c:v>0.246</c:v>
                </c:pt>
                <c:pt idx="2">
                  <c:v>0.32100000000000001</c:v>
                </c:pt>
                <c:pt idx="3">
                  <c:v>0.30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53687248"/>
        <c:axId val="453687808"/>
      </c:barChart>
      <c:lineChart>
        <c:grouping val="standard"/>
        <c:varyColors val="0"/>
        <c:ser>
          <c:idx val="1"/>
          <c:order val="1"/>
          <c:tx>
            <c:strRef>
              <c:f>Plan1!$C$1</c:f>
              <c:strCache>
                <c:ptCount val="1"/>
                <c:pt idx="0">
                  <c:v>Afinidade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Plan1!$A$2:$A$5</c:f>
              <c:strCache>
                <c:ptCount val="4"/>
                <c:pt idx="0">
                  <c:v>BAND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C$2:$C$5</c:f>
              <c:numCache>
                <c:formatCode>0%</c:formatCode>
                <c:ptCount val="4"/>
                <c:pt idx="0">
                  <c:v>1.27</c:v>
                </c:pt>
                <c:pt idx="1">
                  <c:v>0.98</c:v>
                </c:pt>
                <c:pt idx="2">
                  <c:v>1.28</c:v>
                </c:pt>
                <c:pt idx="3">
                  <c:v>1.2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3688928"/>
        <c:axId val="453688368"/>
      </c:lineChart>
      <c:catAx>
        <c:axId val="4536872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BR"/>
          </a:p>
        </c:txPr>
        <c:crossAx val="453687808"/>
        <c:crosses val="autoZero"/>
        <c:auto val="1"/>
        <c:lblAlgn val="ctr"/>
        <c:lblOffset val="100"/>
        <c:noMultiLvlLbl val="0"/>
      </c:catAx>
      <c:valAx>
        <c:axId val="453687808"/>
        <c:scaling>
          <c:orientation val="minMax"/>
          <c:max val="0.4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453687248"/>
        <c:crosses val="autoZero"/>
        <c:crossBetween val="between"/>
      </c:valAx>
      <c:valAx>
        <c:axId val="453688368"/>
        <c:scaling>
          <c:orientation val="minMax"/>
          <c:max val="1.4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pt-BR"/>
          </a:p>
        </c:txPr>
        <c:crossAx val="453688928"/>
        <c:crosses val="max"/>
        <c:crossBetween val="between"/>
      </c:valAx>
      <c:catAx>
        <c:axId val="4536889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3688368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89" y="162568"/>
            <a:ext cx="1831521" cy="569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1047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5251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4172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1913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920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jp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JP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367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Slide do think-cell" r:id="rId20" imgW="270" imgH="270" progId="TCLayout.ActiveDocument.1">
                  <p:embed/>
                </p:oleObj>
              </mc:Choice>
              <mc:Fallback>
                <p:oleObj name="Slide do think-cell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9/2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89" y="162568"/>
            <a:ext cx="1831521" cy="569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01147" y="4521315"/>
            <a:ext cx="5236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formações de Mídia e </a:t>
            </a:r>
            <a:r>
              <a:rPr lang="pt-BR" sz="2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Mercado</a:t>
            </a:r>
            <a:endParaRPr lang="pt-BR" sz="2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24 de setembro 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366" y="2953748"/>
            <a:ext cx="3429000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1327030"/>
              </p:ext>
            </p:extLst>
          </p:nvPr>
        </p:nvGraphicFramePr>
        <p:xfrm>
          <a:off x="1015976" y="2760129"/>
          <a:ext cx="8639154" cy="29518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39859"/>
                <a:gridCol w="1583850"/>
                <a:gridCol w="1295868"/>
                <a:gridCol w="1439859"/>
                <a:gridCol w="1663791"/>
                <a:gridCol w="1215927"/>
              </a:tblGrid>
              <a:tr h="513592"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ssoras</a:t>
                      </a:r>
                      <a:endParaRPr lang="pt-BR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 Bruto</a:t>
                      </a:r>
                    </a:p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ciado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onto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imado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erções</a:t>
                      </a:r>
                      <a:r>
                        <a:rPr lang="pt-BR" sz="1600" b="0" kern="1200" baseline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”</a:t>
                      </a:r>
                      <a:endParaRPr lang="pt-BR" sz="1600" b="0" kern="120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P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M ABC 25+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PP R$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474540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11.84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7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803,0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474540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8.92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4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65,67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474540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13.609</a:t>
                      </a: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06</a:t>
                      </a: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411,66</a:t>
                      </a:r>
                    </a:p>
                  </a:txBody>
                  <a:tcPr marL="91421" marR="91421" marT="45710" marB="45710" anchor="ctr"/>
                </a:tc>
              </a:tr>
              <a:tr h="474540"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endParaRPr lang="pt-BR" sz="16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6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 12.785</a:t>
                      </a:r>
                      <a:endParaRPr lang="pt-BR" sz="16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6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%</a:t>
                      </a:r>
                      <a:endParaRPr lang="pt-BR" sz="16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6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pt-BR" sz="16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6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,79</a:t>
                      </a:r>
                      <a:endParaRPr lang="pt-BR" sz="16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6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 367,52</a:t>
                      </a:r>
                    </a:p>
                  </a:txBody>
                  <a:tcPr marL="91421" marR="91421" marT="45710" marB="45710" anchor="ctr"/>
                </a:tc>
              </a:tr>
              <a:tr h="474540"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 77.169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5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9,06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8,18</a:t>
                      </a:r>
                    </a:p>
                  </a:txBody>
                  <a:tcPr marL="91421" marR="91421" marT="45710" marB="45710" anchor="ctr"/>
                </a:tc>
              </a:tr>
            </a:tbl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26" y="3409101"/>
            <a:ext cx="316204" cy="316204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725" y="3910269"/>
            <a:ext cx="284963" cy="284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725" y="4387864"/>
            <a:ext cx="301505" cy="301505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182880" y="1076336"/>
            <a:ext cx="10332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Já utilizando o investimento realizado no Sbt, a Band TV também se destaca. Apresenta número de inserções 150% maior, um TRP superior e CPP inferior (redução de 10%) comparado ao Sbt.</a:t>
            </a:r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737" y="4815250"/>
            <a:ext cx="430982" cy="430982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5899450" y="6940192"/>
            <a:ext cx="4698212" cy="215450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800" b="1" dirty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800" dirty="0">
                <a:latin typeface="Arial" panose="020B0604020202020204" pitchFamily="34" charset="0"/>
                <a:cs typeface="Arial" panose="020B0604020202020204" pitchFamily="34" charset="0"/>
              </a:rPr>
              <a:t>: Ibope Monitor </a:t>
            </a:r>
            <a:r>
              <a:rPr lang="pt-B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m descontos estimados – Target: MM ABC 25+  – Agosto/2014 – Curitiba</a:t>
            </a:r>
            <a:endParaRPr lang="pt-BR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499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89158"/>
              </p:ext>
            </p:extLst>
          </p:nvPr>
        </p:nvGraphicFramePr>
        <p:xfrm>
          <a:off x="191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17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1352538" y="7325637"/>
            <a:ext cx="7866217" cy="246175"/>
          </a:xfrm>
          <a:prstGeom prst="rect">
            <a:avLst/>
          </a:prstGeom>
          <a:noFill/>
        </p:spPr>
        <p:txBody>
          <a:bodyPr wrap="none" lIns="91425" tIns="45713" rIns="91425" bIns="45713" rtlCol="0">
            <a:spAutoFit/>
          </a:bodyPr>
          <a:lstStyle/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TRP target: AS ABC 25/49 – Junho/2014 – Praça Rio de Janeiro / Simulação Base SP</a:t>
            </a: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99017"/>
              </p:ext>
            </p:extLst>
          </p:nvPr>
        </p:nvGraphicFramePr>
        <p:xfrm>
          <a:off x="1043645" y="2022902"/>
          <a:ext cx="8175110" cy="203304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27377"/>
                <a:gridCol w="1731200"/>
                <a:gridCol w="1346489"/>
                <a:gridCol w="1873149"/>
                <a:gridCol w="1396895"/>
              </a:tblGrid>
              <a:tr h="371749">
                <a:tc gridSpan="5">
                  <a:txBody>
                    <a:bodyPr/>
                    <a:lstStyle/>
                    <a:p>
                      <a:pPr algn="ctr"/>
                      <a:r>
                        <a:rPr lang="pt-BR" sz="12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ÁRIO</a:t>
                      </a:r>
                      <a:r>
                        <a:rPr lang="pt-BR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(verba igual a da Record)</a:t>
                      </a:r>
                      <a:endParaRPr lang="pt-BR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12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kern="120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12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12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87578"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ação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uto Negociado </a:t>
                      </a:r>
                      <a:r>
                        <a:rPr lang="pt-BR" sz="1300" b="0" kern="12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</a:t>
                      </a:r>
                      <a:endParaRPr lang="pt-BR" sz="1300" b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erções</a:t>
                      </a:r>
                      <a:r>
                        <a:rPr lang="pt-BR" sz="1300" b="0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300" b="0" kern="12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”</a:t>
                      </a:r>
                      <a:endParaRPr lang="pt-BR" sz="1300" b="0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P</a:t>
                      </a:r>
                      <a:r>
                        <a:rPr lang="pt-BR" sz="13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pt-BR" sz="13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M ABC 25+</a:t>
                      </a:r>
                      <a:endParaRPr lang="pt-BR" sz="13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PP Médio R$</a:t>
                      </a:r>
                      <a:endParaRPr lang="pt-BR" sz="13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91213">
                <a:tc>
                  <a:txBody>
                    <a:bodyPr/>
                    <a:lstStyle/>
                    <a:p>
                      <a:pPr algn="l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</a:t>
                      </a:r>
                      <a:r>
                        <a:rPr lang="pt-BR" sz="13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and TV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64</a:t>
                      </a:r>
                      <a:r>
                        <a:rPr lang="pt-BR" sz="13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383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,27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417,34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391213">
                <a:tc>
                  <a:txBody>
                    <a:bodyPr/>
                    <a:lstStyle/>
                    <a:p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 Band TV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101.907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4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,46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89,76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391213">
                <a:tc>
                  <a:txBody>
                    <a:bodyPr/>
                    <a:lstStyle/>
                    <a:p>
                      <a:r>
                        <a:rPr lang="pt-BR" sz="13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riação %</a:t>
                      </a:r>
                      <a:endParaRPr lang="pt-BR" sz="13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58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42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69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,6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CaixaDeTexto 13"/>
          <p:cNvSpPr txBox="1"/>
          <p:nvPr/>
        </p:nvSpPr>
        <p:spPr>
          <a:xfrm>
            <a:off x="192911" y="1145164"/>
            <a:ext cx="10260428" cy="707872"/>
          </a:xfrm>
          <a:prstGeom prst="rect">
            <a:avLst/>
          </a:prstGeom>
          <a:noFill/>
        </p:spPr>
        <p:txBody>
          <a:bodyPr wrap="square" lIns="91425" tIns="45713" rIns="91425" bIns="45713" rtlCol="0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Com a inclusão da Band TV na programação, os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esultados são 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favoráveis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ara a Coamo. 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 dois cenários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presentam melhora na rentabilidade e aumento em TRP. </a:t>
            </a:r>
            <a:endParaRPr lang="pt-BR" sz="20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2064144"/>
              </p:ext>
            </p:extLst>
          </p:nvPr>
        </p:nvGraphicFramePr>
        <p:xfrm>
          <a:off x="1043645" y="4308135"/>
          <a:ext cx="8175110" cy="203304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27377"/>
                <a:gridCol w="1731200"/>
                <a:gridCol w="1346489"/>
                <a:gridCol w="1873149"/>
                <a:gridCol w="1396895"/>
              </a:tblGrid>
              <a:tr h="371749">
                <a:tc gridSpan="5">
                  <a:txBody>
                    <a:bodyPr/>
                    <a:lstStyle/>
                    <a:p>
                      <a:pPr algn="ctr"/>
                      <a:r>
                        <a:rPr lang="pt-BR" sz="12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ÁRIO 2 (verba igual a do SBT)</a:t>
                      </a:r>
                      <a:endParaRPr lang="pt-BR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12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b="0" kern="120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12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sz="12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87578"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ação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uto Negociado </a:t>
                      </a:r>
                      <a:r>
                        <a:rPr lang="pt-BR" sz="1300" b="0" kern="12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</a:t>
                      </a:r>
                      <a:endParaRPr lang="pt-BR" sz="1300" b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erções</a:t>
                      </a:r>
                      <a:r>
                        <a:rPr lang="pt-BR" sz="1300" b="0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300" b="0" kern="12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”</a:t>
                      </a:r>
                      <a:endParaRPr lang="pt-BR" sz="1300" b="0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P</a:t>
                      </a:r>
                      <a:r>
                        <a:rPr lang="pt-BR" sz="13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pt-BR" sz="13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M ABC 25+</a:t>
                      </a:r>
                      <a:endParaRPr lang="pt-BR" sz="13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PP Médio R$</a:t>
                      </a:r>
                      <a:endParaRPr lang="pt-BR" sz="13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91213">
                <a:tc>
                  <a:txBody>
                    <a:bodyPr/>
                    <a:lstStyle/>
                    <a:p>
                      <a:pPr algn="l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</a:t>
                      </a:r>
                      <a:r>
                        <a:rPr lang="pt-BR" sz="13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and TV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64</a:t>
                      </a:r>
                      <a:r>
                        <a:rPr lang="pt-BR" sz="13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383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,27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417,34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391213">
                <a:tc>
                  <a:txBody>
                    <a:bodyPr/>
                    <a:lstStyle/>
                    <a:p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 Band TV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77.169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9,06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408,18</a:t>
                      </a:r>
                      <a:endParaRPr lang="pt-BR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391213">
                <a:tc>
                  <a:txBody>
                    <a:bodyPr/>
                    <a:lstStyle/>
                    <a:p>
                      <a:r>
                        <a:rPr lang="pt-BR" sz="13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riação %</a:t>
                      </a:r>
                      <a:endParaRPr lang="pt-BR" sz="13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0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56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2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,1%</a:t>
                      </a:r>
                      <a:endParaRPr lang="pt-BR" sz="13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CaixaDeTexto 11"/>
          <p:cNvSpPr txBox="1"/>
          <p:nvPr/>
        </p:nvSpPr>
        <p:spPr>
          <a:xfrm>
            <a:off x="5899450" y="6940192"/>
            <a:ext cx="4698212" cy="215450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800" b="1" dirty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800" dirty="0">
                <a:latin typeface="Arial" panose="020B0604020202020204" pitchFamily="34" charset="0"/>
                <a:cs typeface="Arial" panose="020B0604020202020204" pitchFamily="34" charset="0"/>
              </a:rPr>
              <a:t>: Ibope Monitor </a:t>
            </a:r>
            <a:r>
              <a:rPr lang="pt-B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m descontos estimados – Target: MM ABC 25+  – Agosto/2014 – Curitiba</a:t>
            </a:r>
            <a:endParaRPr lang="pt-BR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74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226893"/>
              </p:ext>
            </p:extLst>
          </p:nvPr>
        </p:nvGraphicFramePr>
        <p:xfrm>
          <a:off x="191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17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1352538" y="7325637"/>
            <a:ext cx="6654600" cy="246175"/>
          </a:xfrm>
          <a:prstGeom prst="rect">
            <a:avLst/>
          </a:prstGeom>
          <a:noFill/>
        </p:spPr>
        <p:txBody>
          <a:bodyPr wrap="none" lIns="91425" tIns="45713" rIns="91425" bIns="45713" rtlCol="0">
            <a:spAutoFit/>
          </a:bodyPr>
          <a:lstStyle/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TRP target: AS ABC 25/49 – Junho/2014 – Praça Rio de Janeiro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0" y="941605"/>
            <a:ext cx="10260428" cy="400032"/>
          </a:xfrm>
          <a:prstGeom prst="rect">
            <a:avLst/>
          </a:prstGeom>
          <a:noFill/>
        </p:spPr>
        <p:txBody>
          <a:bodyPr wrap="square" lIns="91425" tIns="45713" rIns="91425" bIns="45713" rtlCol="0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ogramação 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veiculada em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gosto/2014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pt-BR" sz="20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5899450" y="6940192"/>
            <a:ext cx="4698212" cy="215450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800" b="1" dirty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800" dirty="0">
                <a:latin typeface="Arial" panose="020B0604020202020204" pitchFamily="34" charset="0"/>
                <a:cs typeface="Arial" panose="020B0604020202020204" pitchFamily="34" charset="0"/>
              </a:rPr>
              <a:t>: Ibope Monitor </a:t>
            </a:r>
            <a:r>
              <a:rPr lang="pt-B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m descontos estimados – Target: MM ABC 25+  – Agosto/2014 – Curitiba</a:t>
            </a:r>
            <a:endParaRPr lang="pt-BR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86914" y="1398787"/>
            <a:ext cx="7086600" cy="5246856"/>
          </a:xfrm>
          <a:prstGeom prst="rect">
            <a:avLst/>
          </a:prstGeom>
          <a:ln w="3175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431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883342" y="2823114"/>
            <a:ext cx="8923541" cy="597767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HÁBITOS DE MÍDIA E CONSUMO</a:t>
            </a:r>
            <a:endParaRPr lang="pt-B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3" descr="C:\Users\csoares\Desktop\TGI_logo_Blc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1593" y="3551037"/>
            <a:ext cx="2481586" cy="143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736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205864" y="1048197"/>
            <a:ext cx="10262582" cy="70789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ntre os telespectadores de Curitiba, Mulheres ABC com mais de 25 anos que assistiram a Band nos últimos 7 dias, 84% Consumiram café nos últimos 7 dias.</a:t>
            </a:r>
            <a:endParaRPr lang="pt-BR" sz="20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2147222597"/>
              </p:ext>
            </p:extLst>
          </p:nvPr>
        </p:nvGraphicFramePr>
        <p:xfrm>
          <a:off x="392381" y="2188455"/>
          <a:ext cx="9470075" cy="4290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CaixaDeTexto 18"/>
          <p:cNvSpPr txBox="1"/>
          <p:nvPr/>
        </p:nvSpPr>
        <p:spPr>
          <a:xfrm>
            <a:off x="2662" y="6619606"/>
            <a:ext cx="5461760" cy="246227"/>
          </a:xfrm>
          <a:prstGeom prst="rect">
            <a:avLst/>
          </a:prstGeom>
          <a:noFill/>
        </p:spPr>
        <p:txBody>
          <a:bodyPr wrap="none" lIns="91444" tIns="45723" rIns="91444" bIns="45723" rtlCol="0">
            <a:spAutoFit/>
          </a:bodyPr>
          <a:lstStyle/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Fonte: Target </a:t>
            </a:r>
            <a:r>
              <a:rPr lang="pt-BR" sz="1000" dirty="0" err="1"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 Index BrY14w2+Y15w1 (Fev13-Fev14) V1.0 - Pessoas </a:t>
            </a:r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– Praça: Curitiba</a:t>
            </a:r>
            <a:endParaRPr lang="pt-BR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73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205864" y="980001"/>
            <a:ext cx="10262582" cy="70789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ntre os telespectadores de Curitiba, Mulheres ABC com mais de 25 anos que assistiram a Band nos últimos 7 dias, 32% Consumiram Óleo / Azeite Coamo nos últimos 90 dias</a:t>
            </a:r>
            <a:endParaRPr lang="pt-BR" sz="20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2084849976"/>
              </p:ext>
            </p:extLst>
          </p:nvPr>
        </p:nvGraphicFramePr>
        <p:xfrm>
          <a:off x="392381" y="2234175"/>
          <a:ext cx="9470075" cy="4290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CaixaDeTexto 18"/>
          <p:cNvSpPr txBox="1"/>
          <p:nvPr/>
        </p:nvSpPr>
        <p:spPr>
          <a:xfrm>
            <a:off x="5911972" y="6962506"/>
            <a:ext cx="5567558" cy="230838"/>
          </a:xfrm>
          <a:prstGeom prst="rect">
            <a:avLst/>
          </a:prstGeom>
          <a:noFill/>
        </p:spPr>
        <p:txBody>
          <a:bodyPr wrap="none" lIns="91444" tIns="45723" rIns="91444" bIns="45723" rtlCol="0">
            <a:spAutoFit/>
          </a:bodyPr>
          <a:lstStyle/>
          <a:p>
            <a:r>
              <a:rPr lang="pt-BR" sz="900" b="1" dirty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900" dirty="0">
                <a:latin typeface="Arial" panose="020B0604020202020204" pitchFamily="34" charset="0"/>
                <a:cs typeface="Arial" panose="020B0604020202020204" pitchFamily="34" charset="0"/>
              </a:rPr>
              <a:t>: Target </a:t>
            </a:r>
            <a:r>
              <a:rPr lang="pt-BR" sz="900" dirty="0" err="1"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r>
              <a:rPr lang="pt-BR" sz="900" dirty="0">
                <a:latin typeface="Arial" panose="020B0604020202020204" pitchFamily="34" charset="0"/>
                <a:cs typeface="Arial" panose="020B0604020202020204" pitchFamily="34" charset="0"/>
              </a:rPr>
              <a:t> Index BrY14w2+Y15w1 (Fev13-Fev14) V1.0 - Pessoas </a:t>
            </a:r>
            <a:r>
              <a:rPr lang="pt-BR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– Target: MM Praça: Curitiba</a:t>
            </a:r>
            <a:endParaRPr lang="pt-BR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97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584" y="0"/>
            <a:ext cx="10709648" cy="757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8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567051" y="2666281"/>
            <a:ext cx="9445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latin typeface="Arial" panose="020B0604020202020204" pitchFamily="34" charset="0"/>
                <a:cs typeface="Arial" panose="020B0604020202020204" pitchFamily="34" charset="0"/>
              </a:rPr>
              <a:t>INVESTIMENTOS EM MÍDIA </a:t>
            </a:r>
          </a:p>
          <a:p>
            <a:pPr algn="ctr"/>
            <a:r>
              <a:rPr lang="pt-BR" sz="2800" dirty="0">
                <a:latin typeface="Arial" panose="020B0604020202020204" pitchFamily="34" charset="0"/>
                <a:cs typeface="Arial" panose="020B0604020202020204" pitchFamily="34" charset="0"/>
              </a:rPr>
              <a:t>CATEGORIAS: </a:t>
            </a: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OLEOS AZEITES E AFINS, MARGARINAS E MANTEIGAS, LINHA ALIMENTARES, INSTITUC ALIMENTACAO, CAFE E CHA </a:t>
            </a:r>
          </a:p>
          <a:p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3189975810"/>
              </p:ext>
            </p:extLst>
          </p:nvPr>
        </p:nvGraphicFramePr>
        <p:xfrm>
          <a:off x="232544" y="2655650"/>
          <a:ext cx="5112569" cy="4053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7" name="Conector reto 6"/>
          <p:cNvCxnSpPr/>
          <p:nvPr/>
        </p:nvCxnSpPr>
        <p:spPr>
          <a:xfrm>
            <a:off x="277872" y="24522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304552" y="2067739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10,5 milhões </a:t>
            </a: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4007846665"/>
              </p:ext>
            </p:extLst>
          </p:nvPr>
        </p:nvGraphicFramePr>
        <p:xfrm>
          <a:off x="5489128" y="2548320"/>
          <a:ext cx="5112569" cy="4046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Conector reto 9"/>
          <p:cNvCxnSpPr/>
          <p:nvPr/>
        </p:nvCxnSpPr>
        <p:spPr>
          <a:xfrm>
            <a:off x="5462448" y="245228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5489128" y="2067739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13,8 milhões </a:t>
            </a: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93989" y="1062297"/>
            <a:ext cx="10262582" cy="969502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A COAMO é o segundo maior anunciante das categorias nas praças de Curitiba, Londrina e Maringá, com investimento estimado em R$ 1,3 milhões em 2013 e R$ 1,1 milhões em 2014 (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510053" y="4285304"/>
            <a:ext cx="660182" cy="572446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7120890" y="6130941"/>
            <a:ext cx="543617" cy="497726"/>
          </a:xfrm>
          <a:prstGeom prst="ellipse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/>
          <p:cNvSpPr txBox="1"/>
          <p:nvPr/>
        </p:nvSpPr>
        <p:spPr>
          <a:xfrm>
            <a:off x="5981578" y="6913077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</p:spTree>
    <p:extLst>
      <p:ext uri="{BB962C8B-B14F-4D97-AF65-F5344CB8AC3E}">
        <p14:creationId xmlns:p14="http://schemas.microsoft.com/office/powerpoint/2010/main" val="278314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548995" y="3244944"/>
            <a:ext cx="7684549" cy="102865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>
            <a:defPPr>
              <a:defRPr lang="pt-BR"/>
            </a:defPPr>
            <a:lvl1pPr algn="ctr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INVESTIMENTOS EM MÍDIA </a:t>
            </a:r>
          </a:p>
          <a:p>
            <a:r>
              <a:rPr lang="pt-BR" dirty="0" smtClean="0"/>
              <a:t>COAM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9925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93989" y="113087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De acordo com o Ibope Monitor e considerando descontos estimados, a COAMO concentra seus investimentos em TV Aberta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Conector reto 6"/>
          <p:cNvCxnSpPr/>
          <p:nvPr/>
        </p:nvCxnSpPr>
        <p:spPr>
          <a:xfrm>
            <a:off x="160536" y="237990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173876" y="2055937"/>
            <a:ext cx="4163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3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dez): Investimento R$ 1,3 MM 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5335910" y="2307079"/>
            <a:ext cx="9202" cy="410400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1369443707"/>
              </p:ext>
            </p:extLst>
          </p:nvPr>
        </p:nvGraphicFramePr>
        <p:xfrm>
          <a:off x="110449" y="2596237"/>
          <a:ext cx="4494670" cy="377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452945" y="2055937"/>
            <a:ext cx="74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4566240" y="3375761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99,3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651199" y="5194685"/>
            <a:ext cx="5341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0,7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Conector reto 13"/>
          <p:cNvCxnSpPr/>
          <p:nvPr/>
        </p:nvCxnSpPr>
        <p:spPr>
          <a:xfrm>
            <a:off x="5450777" y="2379907"/>
            <a:ext cx="49952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/>
          <p:cNvSpPr txBox="1"/>
          <p:nvPr/>
        </p:nvSpPr>
        <p:spPr>
          <a:xfrm>
            <a:off x="5464117" y="2055937"/>
            <a:ext cx="4163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014 (</a:t>
            </a:r>
            <a:r>
              <a:rPr lang="pt-BR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: Investimento R$ 1,1 MM 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Gráfico 15"/>
          <p:cNvGraphicFramePr/>
          <p:nvPr>
            <p:extLst>
              <p:ext uri="{D42A27DB-BD31-4B8C-83A1-F6EECF244321}">
                <p14:modId xmlns:p14="http://schemas.microsoft.com/office/powerpoint/2010/main" val="3138378601"/>
              </p:ext>
            </p:extLst>
          </p:nvPr>
        </p:nvGraphicFramePr>
        <p:xfrm>
          <a:off x="5400690" y="2596237"/>
          <a:ext cx="4494670" cy="377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9743186" y="2055937"/>
            <a:ext cx="74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endParaRPr lang="pt-B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9856481" y="3364331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99,4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9898961" y="5183255"/>
            <a:ext cx="5341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0,6%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5894486" y="6980025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</p:spTree>
    <p:extLst>
      <p:ext uri="{BB962C8B-B14F-4D97-AF65-F5344CB8AC3E}">
        <p14:creationId xmlns:p14="http://schemas.microsoft.com/office/powerpoint/2010/main" val="2059524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537211" y="3004914"/>
            <a:ext cx="9681210" cy="1490319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>
            <a:defPPr>
              <a:defRPr lang="pt-BR"/>
            </a:defPPr>
            <a:lvl1pPr algn="ctr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dirty="0" smtClean="0"/>
              <a:t>ANÁLISE DOS INVESTIMENTOS </a:t>
            </a:r>
            <a:r>
              <a:rPr lang="pt-BR" dirty="0"/>
              <a:t>EM </a:t>
            </a:r>
            <a:r>
              <a:rPr lang="pt-BR" dirty="0" smtClean="0"/>
              <a:t>TV ABERTA PRAÇA: CURITIBA</a:t>
            </a:r>
          </a:p>
          <a:p>
            <a:r>
              <a:rPr lang="pt-BR" dirty="0" smtClean="0"/>
              <a:t>COAM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1053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93989" y="970857"/>
            <a:ext cx="10262582" cy="677114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No período de 2014 (</a:t>
            </a:r>
            <a:r>
              <a:rPr lang="pt-BR" sz="1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n-ago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) os investimentos em TV Aberta da COAMO na praça de Curitiba estão estimados em R$ 775 mil e concentrados na Record, Glo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bo e Sbt</a:t>
            </a:r>
            <a:r>
              <a:rPr lang="pt-BR" sz="19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5894486" y="6980025"/>
            <a:ext cx="44502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Valores líquidos R$ (000)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/>
          <a:srcRect r="19044" b="594"/>
          <a:stretch/>
        </p:blipFill>
        <p:spPr>
          <a:xfrm>
            <a:off x="110331" y="1766817"/>
            <a:ext cx="5878989" cy="4942594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6242790" y="1917094"/>
            <a:ext cx="4101953" cy="3893380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A Record apresenta share de investimento (44,6%), acima do que entrega de audiência no target (10,8%), gerando um índice de 412.</a:t>
            </a:r>
          </a:p>
          <a:p>
            <a:endParaRPr lang="pt-BR" sz="19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O Sbt tem um índice de 147 e a TV Globo está com uma participação de investimento equilibrada com seu share de audiência.</a:t>
            </a:r>
          </a:p>
          <a:p>
            <a:endParaRPr lang="pt-BR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A Band TV possui share de 3,0% no target, porém, não recebe investimento deste anunciante.</a:t>
            </a:r>
            <a:endParaRPr lang="pt-BR" sz="1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72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341608"/>
              </p:ext>
            </p:extLst>
          </p:nvPr>
        </p:nvGraphicFramePr>
        <p:xfrm>
          <a:off x="191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17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aixaDeTexto 13"/>
          <p:cNvSpPr txBox="1"/>
          <p:nvPr/>
        </p:nvSpPr>
        <p:spPr>
          <a:xfrm>
            <a:off x="206150" y="1151542"/>
            <a:ext cx="10260428" cy="707743"/>
          </a:xfrm>
          <a:prstGeom prst="rect">
            <a:avLst/>
          </a:prstGeom>
          <a:noFill/>
        </p:spPr>
        <p:txBody>
          <a:bodyPr wrap="square" lIns="91425" tIns="45713" rIns="91425" bIns="45713" rtlCol="0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Simulamos a programação de 30” 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a COAMO, na praça de Curitiba 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realizada em agosto de 2014 na emissora Globo, Record e SBT e o resultado da campanha foi o seguinte:</a:t>
            </a:r>
            <a:endParaRPr lang="pt-BR" sz="2000" dirty="0">
              <a:solidFill>
                <a:srgbClr val="009A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901958" y="7313126"/>
            <a:ext cx="7887050" cy="246175"/>
          </a:xfrm>
          <a:prstGeom prst="rect">
            <a:avLst/>
          </a:prstGeom>
          <a:noFill/>
        </p:spPr>
        <p:txBody>
          <a:bodyPr wrap="none" lIns="91425" tIns="45713" rIns="91425" bIns="45713" rtlCol="0">
            <a:spAutoFit/>
          </a:bodyPr>
          <a:lstStyle/>
          <a:p>
            <a:r>
              <a:rPr lang="pt-BR" sz="1000" dirty="0">
                <a:latin typeface="Arial" panose="020B0604020202020204" pitchFamily="34" charset="0"/>
                <a:cs typeface="Arial" panose="020B0604020202020204" pitchFamily="34" charset="0"/>
              </a:rPr>
              <a:t>Fonte: Ibope Monitor com descontos estimados – TRP target: AS ABC 25/49 – Julho/2014 – Praça Rio de Janeiro / Simulação Base SP</a:t>
            </a: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075603"/>
              </p:ext>
            </p:extLst>
          </p:nvPr>
        </p:nvGraphicFramePr>
        <p:xfrm>
          <a:off x="1016787" y="2582789"/>
          <a:ext cx="8639154" cy="260461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39859"/>
                <a:gridCol w="1583850"/>
                <a:gridCol w="1295868"/>
                <a:gridCol w="1439859"/>
                <a:gridCol w="1663791"/>
                <a:gridCol w="1215927"/>
              </a:tblGrid>
              <a:tr h="578998"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ssoras</a:t>
                      </a:r>
                      <a:endParaRPr lang="pt-BR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 Bruto</a:t>
                      </a:r>
                    </a:p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ciado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onto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imado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erções</a:t>
                      </a:r>
                      <a:r>
                        <a:rPr lang="pt-BR" sz="1600" b="0" kern="1200" baseline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”</a:t>
                      </a:r>
                      <a:endParaRPr lang="pt-BR" sz="1600" b="0" kern="120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P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M ABC 25+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PP R$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506379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11.84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7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803,0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506379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8.92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4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65,67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506379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13.60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0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411,6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506379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64.382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,26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417,36</a:t>
                      </a:r>
                      <a:endParaRPr lang="pt-BR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</a:tbl>
          </a:graphicData>
        </a:graphic>
      </p:graphicFrame>
      <p:pic>
        <p:nvPicPr>
          <p:cNvPr id="10" name="Imagem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557" y="3215758"/>
            <a:ext cx="389162" cy="389162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557" y="3700282"/>
            <a:ext cx="389162" cy="389162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4485" y="4215353"/>
            <a:ext cx="417306" cy="417306"/>
          </a:xfrm>
          <a:prstGeom prst="rect">
            <a:avLst/>
          </a:prstGeom>
        </p:spPr>
      </p:pic>
      <p:sp>
        <p:nvSpPr>
          <p:cNvPr id="15" name="CaixaDeTexto 14"/>
          <p:cNvSpPr txBox="1"/>
          <p:nvPr/>
        </p:nvSpPr>
        <p:spPr>
          <a:xfrm>
            <a:off x="5899450" y="6940192"/>
            <a:ext cx="4698212" cy="215450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800" b="1" dirty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800" dirty="0">
                <a:latin typeface="Arial" panose="020B0604020202020204" pitchFamily="34" charset="0"/>
                <a:cs typeface="Arial" panose="020B0604020202020204" pitchFamily="34" charset="0"/>
              </a:rPr>
              <a:t>: Ibope Monitor </a:t>
            </a:r>
            <a:r>
              <a:rPr lang="pt-B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m descontos estimados – Target: MM ABC 25+  – Agosto/2014 – Curitiba</a:t>
            </a:r>
            <a:endParaRPr lang="pt-BR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33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2864284"/>
              </p:ext>
            </p:extLst>
          </p:nvPr>
        </p:nvGraphicFramePr>
        <p:xfrm>
          <a:off x="1015976" y="2760129"/>
          <a:ext cx="8639154" cy="320177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39859"/>
                <a:gridCol w="1583850"/>
                <a:gridCol w="1295868"/>
                <a:gridCol w="1439859"/>
                <a:gridCol w="1663791"/>
                <a:gridCol w="1215927"/>
              </a:tblGrid>
              <a:tr h="578998"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ssoras</a:t>
                      </a:r>
                      <a:endParaRPr lang="pt-BR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 Bruto</a:t>
                      </a:r>
                    </a:p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ciado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onto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imado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erções</a:t>
                      </a:r>
                      <a:r>
                        <a:rPr lang="pt-BR" sz="1600" b="0" kern="1200" baseline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”</a:t>
                      </a:r>
                      <a:endParaRPr lang="pt-BR" sz="1600" b="0" kern="120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P</a:t>
                      </a:r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pt-BR" sz="1600" b="0" kern="1200" baseline="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M ABC 25+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PP R$</a:t>
                      </a:r>
                      <a:endParaRPr lang="pt-BR" sz="1600" b="0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524534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11.84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7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803,0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524534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8.92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4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65,67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524534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7.523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,19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350,0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524534">
                <a:tc>
                  <a:txBody>
                    <a:bodyPr/>
                    <a:lstStyle/>
                    <a:p>
                      <a:pPr algn="l"/>
                      <a:endParaRPr lang="pt-BR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13.609</a:t>
                      </a: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%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0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4572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$ 411,66</a:t>
                      </a:r>
                      <a:endParaRPr lang="pt-BR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  <a:tr h="524534">
                <a:tc>
                  <a:txBody>
                    <a:bodyPr/>
                    <a:lstStyle/>
                    <a:p>
                      <a:pPr marL="0" algn="ctr" defTabSz="521437" rtl="0" eaLnBrk="1" latinLnBrk="0" hangingPunct="1"/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 101.907</a:t>
                      </a: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4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1,46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  <a:tc>
                  <a:txBody>
                    <a:bodyPr/>
                    <a:lstStyle/>
                    <a:p>
                      <a:pPr marL="0" marR="0" indent="0" algn="ctr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$</a:t>
                      </a:r>
                      <a:r>
                        <a:rPr lang="pt-BR" sz="16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89,76</a:t>
                      </a:r>
                      <a:endParaRPr lang="pt-BR" sz="16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1" marR="91421" marT="45710" marB="45710" anchor="ctr"/>
                </a:tc>
              </a:tr>
            </a:tbl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557" y="3396734"/>
            <a:ext cx="389162" cy="389162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655" y="3929725"/>
            <a:ext cx="389162" cy="389162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014" y="5011627"/>
            <a:ext cx="304385" cy="304385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88719" y="1239409"/>
            <a:ext cx="103697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imulando na Band o mesmo investimento realizado na Record, a Coamo alcança um número maior de </a:t>
            </a:r>
            <a:r>
              <a:rPr lang="pt-B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P’s</a:t>
            </a:r>
            <a:r>
              <a:rPr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, com aproximadamente o dobro de inserções (comparado a Record) e com a melhor rentabilidade de todas as emissoras.</a:t>
            </a:r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098" y="4396347"/>
            <a:ext cx="488219" cy="488219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5899450" y="6940192"/>
            <a:ext cx="4698212" cy="215450"/>
          </a:xfrm>
          <a:prstGeom prst="rect">
            <a:avLst/>
          </a:prstGeom>
          <a:noFill/>
        </p:spPr>
        <p:txBody>
          <a:bodyPr wrap="square" lIns="91444" tIns="45723" rIns="91444" bIns="45723" rtlCol="0">
            <a:spAutoFit/>
          </a:bodyPr>
          <a:lstStyle/>
          <a:p>
            <a:r>
              <a:rPr lang="pt-BR" sz="800" b="1" dirty="0"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BR" sz="800" dirty="0">
                <a:latin typeface="Arial" panose="020B0604020202020204" pitchFamily="34" charset="0"/>
                <a:cs typeface="Arial" panose="020B0604020202020204" pitchFamily="34" charset="0"/>
              </a:rPr>
              <a:t>: Ibope Monitor </a:t>
            </a:r>
            <a:r>
              <a:rPr lang="pt-B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m descontos estimados – Target: MM ABC 25+  – Agosto/2014 – Curitiba</a:t>
            </a:r>
            <a:endParaRPr lang="pt-BR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78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0</TotalTime>
  <Words>1048</Words>
  <Application>Microsoft Office PowerPoint</Application>
  <PresentationFormat>Personalizar</PresentationFormat>
  <Paragraphs>209</Paragraphs>
  <Slides>16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22" baseType="lpstr">
      <vt:lpstr>MS PGothic</vt:lpstr>
      <vt:lpstr>Arial</vt:lpstr>
      <vt:lpstr>Calibri</vt:lpstr>
      <vt:lpstr>Trebuchet MS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Cassio Soares</cp:lastModifiedBy>
  <cp:revision>42</cp:revision>
  <dcterms:created xsi:type="dcterms:W3CDTF">2014-04-01T20:14:56Z</dcterms:created>
  <dcterms:modified xsi:type="dcterms:W3CDTF">2014-09-25T21:13:04Z</dcterms:modified>
</cp:coreProperties>
</file>